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14510" r:id="rId2"/>
    <p:sldId id="256" r:id="rId3"/>
    <p:sldId id="14503" r:id="rId4"/>
    <p:sldId id="14500" r:id="rId5"/>
    <p:sldId id="14493" r:id="rId6"/>
    <p:sldId id="14499" r:id="rId7"/>
    <p:sldId id="14504" r:id="rId8"/>
    <p:sldId id="14502" r:id="rId9"/>
    <p:sldId id="14506" r:id="rId10"/>
    <p:sldId id="14505" r:id="rId11"/>
    <p:sldId id="14494" r:id="rId12"/>
    <p:sldId id="14507" r:id="rId13"/>
    <p:sldId id="14508" r:id="rId14"/>
    <p:sldId id="14497" r:id="rId15"/>
    <p:sldId id="14495" r:id="rId16"/>
    <p:sldId id="14496" r:id="rId17"/>
    <p:sldId id="14498" r:id="rId18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161119C-1312-404B-B104-3F14E843D0EA}" v="2" dt="2022-11-01T10:37:38.15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84" autoAdjust="0"/>
    <p:restoredTop sz="94660"/>
  </p:normalViewPr>
  <p:slideViewPr>
    <p:cSldViewPr snapToGrid="0">
      <p:cViewPr varScale="1">
        <p:scale>
          <a:sx n="128" d="100"/>
          <a:sy n="128" d="100"/>
        </p:scale>
        <p:origin x="520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23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581F915-D860-0CB9-A075-6A9231C6FE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B8FF53CB-741C-2E6F-BB43-CD44E1E0C8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62111CD5-35BA-2206-403F-365C4E6FC7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D2D5F9-7CFF-4F30-ACE5-B31E5B6BC3FB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1929246-B2FE-7BE7-01A3-BBD479B660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9969CB2-8ABC-5E4E-F52B-6A59C322AB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3215CB-C520-4FFD-9997-7AB3AC484525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05982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20A75C9-6AFD-64FC-6AC7-E38300B226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E5FDC208-55E5-CE8C-0402-2CEF3F5A86D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DF09486-11FB-6BED-78E8-66D8E7F0D1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D2D5F9-7CFF-4F30-ACE5-B31E5B6BC3FB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8394938B-03DE-55B2-A551-DB7EC9E89D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11EDB0C-9BA8-961F-35E6-E404D07870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3215CB-C520-4FFD-9997-7AB3AC484525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839877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D653B422-B10C-06D3-CB18-077B0537E52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5BAB0D59-287F-AC0B-2DCF-646848AF1CB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2E02FF45-979A-7F15-0167-B9290E9AC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D2D5F9-7CFF-4F30-ACE5-B31E5B6BC3FB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EEB97C2-31E8-F7E8-E38A-7311B95F6B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7D1257F-3B2A-A796-8DCF-99BF79DF41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3215CB-C520-4FFD-9997-7AB3AC484525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012445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CFFEBD2-F2E5-4061-A1CF-BFC7BE015F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4709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5" imgW="473" imgH="476" progId="TCLayout.ActiveDocument.1">
                  <p:embed/>
                </p:oleObj>
              </mc:Choice>
              <mc:Fallback>
                <p:oleObj name="Slide do think-cell" r:id="rId5" imgW="473" imgH="47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2CFFEBD2-F2E5-4061-A1CF-BFC7BE015F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Slide Number">
            <a:extLst>
              <a:ext uri="{FF2B5EF4-FFF2-40B4-BE49-F238E27FC236}">
                <a16:creationId xmlns:a16="http://schemas.microsoft.com/office/drawing/2014/main" id="{E0A85795-0DE9-40FF-BA30-2A5DCF89045A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615223" y="6547373"/>
            <a:ext cx="325501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 Placeholder 23">
            <a:extLst>
              <a:ext uri="{FF2B5EF4-FFF2-40B4-BE49-F238E27FC236}">
                <a16:creationId xmlns:a16="http://schemas.microsoft.com/office/drawing/2014/main" id="{43A82661-FECB-4D9B-9B45-10053C5866F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5119" y="6479635"/>
            <a:ext cx="10134497" cy="29952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rtl="0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1"/>
                </a:solidFill>
              </a:defRPr>
            </a:lvl1pPr>
            <a:lvl2pPr>
              <a:spcAft>
                <a:spcPts val="600"/>
              </a:spcAft>
              <a:defRPr sz="1000">
                <a:solidFill>
                  <a:schemeClr val="accent2"/>
                </a:solidFill>
              </a:defRPr>
            </a:lvl2pPr>
            <a:lvl3pPr marL="1143000" indent="-228600">
              <a:spcAft>
                <a:spcPts val="600"/>
              </a:spcAft>
              <a:buFont typeface="Arial" panose="020B0604020202020204" pitchFamily="34" charset="0"/>
              <a:buChar char="−"/>
              <a:defRPr sz="1000"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Fonte/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D33F8E1-A0A1-40E6-B9F1-1B12C8AE09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7845" y="172212"/>
            <a:ext cx="11612879" cy="731520"/>
          </a:xfrm>
        </p:spPr>
        <p:txBody>
          <a:bodyPr vert="horz">
            <a:normAutofit/>
          </a:bodyPr>
          <a:lstStyle>
            <a:lvl1pPr rtl="0">
              <a:defRPr sz="2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C0E730B3-8BBE-435F-B531-CBF2C23319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9411565" y="42665"/>
            <a:ext cx="2529159" cy="12311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r" rtl="0">
              <a:buNone/>
              <a:defRPr lang="en-US" sz="800" dirty="0">
                <a:solidFill>
                  <a:schemeClr val="tx1"/>
                </a:solidFill>
              </a:defRPr>
            </a:lvl1pPr>
          </a:lstStyle>
          <a:p>
            <a:pPr lvl="0" algn="r"/>
            <a:r>
              <a:rPr lang="en-US"/>
              <a:t>Chapter › Topic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F02AE938-173A-4771-9259-7AB04BBBE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5119" y="1082103"/>
            <a:ext cx="11612879" cy="529070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marL="685800" indent="-228600" rtl="0">
              <a:buFont typeface="Arial" panose="020B0604020202020204" pitchFamily="34" charset="0"/>
              <a:buChar char="−"/>
              <a:defRPr/>
            </a:lvl2pPr>
            <a:lvl3pPr marL="1314450" indent="-400050" rtl="0">
              <a:buFont typeface="Arial" panose="020B0604020202020204" pitchFamily="34" charset="0"/>
              <a:buChar char="−"/>
              <a:defRPr/>
            </a:lvl3pPr>
            <a:lvl4pPr marL="1771650" indent="-400050" rtl="0">
              <a:buFont typeface="Arial" panose="020B0604020202020204" pitchFamily="34" charset="0"/>
              <a:buChar char="−"/>
              <a:defRPr/>
            </a:lvl4pPr>
            <a:lvl5pPr marL="2228850" indent="-400050" rtl="0"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878820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37547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76ADC00-8199-17E1-6C7B-8892B51CFE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323611E3-1F4D-A88C-D130-47E11F36F2C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8D367C7E-E7AD-860B-DFAC-3BDF61E16A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D2D5F9-7CFF-4F30-ACE5-B31E5B6BC3FB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A867137-2C0A-2751-5E15-DC9E8ABA1F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1B4F1D71-1422-B03B-6705-EA1550DC2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3215CB-C520-4FFD-9997-7AB3AC484525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991886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4701978-B3E3-CA94-2A7A-783DAC81E4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1556574-D565-2ECD-5C7D-2A01AFE20F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2D0FEFE-73C5-2301-7511-D0E043E973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D2D5F9-7CFF-4F30-ACE5-B31E5B6BC3FB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B7164E8-DFB5-1AAD-6229-61658191C6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9F9970DD-9D3E-B34E-624C-63DEC44430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3215CB-C520-4FFD-9997-7AB3AC484525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904554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94C1091-436C-F7D6-B7FD-BDBFF15F0A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8EE5FEFF-8C37-820E-A302-2914835215A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3A5ECDE-9AE0-EE7B-B68E-039466C28F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F39A1FFA-3CAB-C99A-3CAF-70B0F5AB33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D2D5F9-7CFF-4F30-ACE5-B31E5B6BC3FB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EF55239F-0285-820E-0086-4E78DABF9A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97209C5A-C393-2FBF-5632-778A4B663A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3215CB-C520-4FFD-9997-7AB3AC484525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256283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63EA284-A0C9-D7B2-7CC2-728C4372A2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874D9E95-7870-C977-0BF9-27E451F7DB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0E63E6BC-B070-3E02-7685-B514005DB8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71C7E68A-F38C-184E-D57F-C967AF9230F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ABB3B956-DB56-A7A3-5031-24655BCB2B7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619C9890-949F-D428-5F0F-A31353D337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D2D5F9-7CFF-4F30-ACE5-B31E5B6BC3FB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4DAD3D4D-756C-305A-0725-FBFAF611BA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2EE111CB-02DD-11C1-AF64-DB75376EC8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3215CB-C520-4FFD-9997-7AB3AC484525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639353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019E250-73C1-9EF3-9743-80B7A6D895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73C893EB-91FC-020E-15E8-99EF9D796E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D2D5F9-7CFF-4F30-ACE5-B31E5B6BC3FB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40DDD166-F24D-2A1A-7E22-1006B67E22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04B2656E-BD95-F118-3DAF-1C89B7BC27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3215CB-C520-4FFD-9997-7AB3AC484525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929480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D3D0DAED-D00D-4326-40BC-10BC77B539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D2D5F9-7CFF-4F30-ACE5-B31E5B6BC3FB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519C33FD-078F-1483-8FF0-2485A3C3B1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BB97DE8C-8EE2-508B-23F1-21B8528940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3215CB-C520-4FFD-9997-7AB3AC484525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209894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98CDFE8-DA57-805C-38A3-8351F3E269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4150519-C41C-B867-1808-2FA8F2B48E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AC659217-D726-7ACF-10FC-85EC49D5437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5F350942-2431-222F-2F7C-BEB091F7F1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D2D5F9-7CFF-4F30-ACE5-B31E5B6BC3FB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39F150B2-D5DD-AEC3-6747-0A071D939C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CCDD0480-D896-ADAD-D4E2-E1E5BE1BB4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3215CB-C520-4FFD-9997-7AB3AC484525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206952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8B84A52-8D0F-62C8-AE24-1AF4A80BB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9E924CB5-0EEE-8602-53ED-FBCA91DB1C1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BA925A57-D652-C1A4-483D-29246CD5637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3CC18F65-7319-6F36-84A2-181808771F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D2D5F9-7CFF-4F30-ACE5-B31E5B6BC3FB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1E6D5F6C-2094-4383-89AA-2D9AB14FC4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F911235-2FBD-9C15-7F5A-6971DA506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3215CB-C520-4FFD-9997-7AB3AC484525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395866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FD1DFA3E-2961-4087-411F-B99FB23337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8484B9F-D306-9758-C53B-1BD8FB9F522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BA64006-E57F-5789-E529-5F83DEF944C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D2D5F9-7CFF-4F30-ACE5-B31E5B6BC3FB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4583C64-CFA0-62AE-4BDF-E536B7B0C4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AEF71E3-D63E-B1B7-3B58-024F85E60B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3215CB-C520-4FFD-9997-7AB3AC484525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993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5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9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5FF71C7C-3B5D-CDF1-C70B-AE6A9D3B494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5571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70C95A7-3AF9-4F36-A469-3EEFAB14B0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70C95A7-3AF9-4F36-A469-3EEFAB14B0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1910D5E2-4CA4-49FD-9F63-3CC79C155F1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411565" y="48820"/>
            <a:ext cx="2529159" cy="110800"/>
          </a:xfrm>
        </p:spPr>
        <p:txBody>
          <a:bodyPr/>
          <a:lstStyle/>
          <a:p>
            <a:endParaRPr lang="pt-BR">
              <a:latin typeface="+mj-lt"/>
            </a:endParaRPr>
          </a:p>
        </p:txBody>
      </p:sp>
      <p:sp>
        <p:nvSpPr>
          <p:cNvPr id="9" name="TextBox 62">
            <a:extLst>
              <a:ext uri="{FF2B5EF4-FFF2-40B4-BE49-F238E27FC236}">
                <a16:creationId xmlns:a16="http://schemas.microsoft.com/office/drawing/2014/main" id="{D78E86C2-DE37-FB52-9ABA-9562B6B5B2D2}"/>
              </a:ext>
            </a:extLst>
          </p:cNvPr>
          <p:cNvSpPr txBox="1"/>
          <p:nvPr/>
        </p:nvSpPr>
        <p:spPr>
          <a:xfrm>
            <a:off x="1908790" y="1743278"/>
            <a:ext cx="8149609" cy="3510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4800" b="1" dirty="0">
                <a:solidFill>
                  <a:prstClr val="black"/>
                </a:solidFill>
                <a:latin typeface="Arial"/>
              </a:rPr>
              <a:t>E o que fizemos juntos em apenas 2 anos??</a:t>
            </a:r>
            <a:endParaRPr kumimoji="0" lang="pt-BR" sz="4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36622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70C95A7-3AF9-4F36-A469-3EEFAB14B0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70C95A7-3AF9-4F36-A469-3EEFAB14B0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1910D5E2-4CA4-49FD-9F63-3CC79C155F1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411565" y="48820"/>
            <a:ext cx="2529159" cy="110800"/>
          </a:xfrm>
        </p:spPr>
        <p:txBody>
          <a:bodyPr/>
          <a:lstStyle/>
          <a:p>
            <a:endParaRPr lang="pt-BR">
              <a:latin typeface="+mj-lt"/>
            </a:endParaRPr>
          </a:p>
        </p:txBody>
      </p:sp>
      <p:sp>
        <p:nvSpPr>
          <p:cNvPr id="9" name="TextBox 62">
            <a:extLst>
              <a:ext uri="{FF2B5EF4-FFF2-40B4-BE49-F238E27FC236}">
                <a16:creationId xmlns:a16="http://schemas.microsoft.com/office/drawing/2014/main" id="{D78E86C2-DE37-FB52-9ABA-9562B6B5B2D2}"/>
              </a:ext>
            </a:extLst>
          </p:cNvPr>
          <p:cNvSpPr txBox="1"/>
          <p:nvPr/>
        </p:nvSpPr>
        <p:spPr>
          <a:xfrm>
            <a:off x="1908790" y="1743278"/>
            <a:ext cx="8149609" cy="3510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4800" b="1" dirty="0">
                <a:solidFill>
                  <a:prstClr val="black"/>
                </a:solidFill>
                <a:latin typeface="Arial"/>
              </a:rPr>
              <a:t>Já somos o </a:t>
            </a:r>
            <a:r>
              <a:rPr lang="pt-BR" sz="4800" b="1" u="sng" dirty="0">
                <a:solidFill>
                  <a:prstClr val="black"/>
                </a:solidFill>
                <a:latin typeface="Arial"/>
              </a:rPr>
              <a:t>mais completo e inovador ecossistema </a:t>
            </a:r>
            <a:r>
              <a:rPr lang="pt-BR" sz="4800" b="1" dirty="0">
                <a:solidFill>
                  <a:prstClr val="black"/>
                </a:solidFill>
                <a:latin typeface="Arial"/>
              </a:rPr>
              <a:t>conectado do mundo pra logística e mobilidade</a:t>
            </a:r>
            <a:endParaRPr kumimoji="0" lang="pt-BR" sz="4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14101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70C95A7-3AF9-4F36-A469-3EEFAB14B0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70C95A7-3AF9-4F36-A469-3EEFAB14B0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Rectangle 73">
            <a:extLst>
              <a:ext uri="{FF2B5EF4-FFF2-40B4-BE49-F238E27FC236}">
                <a16:creationId xmlns:a16="http://schemas.microsoft.com/office/drawing/2014/main" id="{F16CB67B-19E8-43CD-9CC5-FC373695A915}"/>
              </a:ext>
            </a:extLst>
          </p:cNvPr>
          <p:cNvSpPr/>
          <p:nvPr/>
        </p:nvSpPr>
        <p:spPr>
          <a:xfrm>
            <a:off x="379744" y="3713964"/>
            <a:ext cx="11243505" cy="24713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1910D5E2-4CA4-49FD-9F63-3CC79C155F1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411565" y="48820"/>
            <a:ext cx="2529159" cy="110800"/>
          </a:xfrm>
        </p:spPr>
        <p:txBody>
          <a:bodyPr/>
          <a:lstStyle/>
          <a:p>
            <a:endParaRPr lang="pt-BR">
              <a:latin typeface="+mj-lt"/>
            </a:endParaRPr>
          </a:p>
        </p:txBody>
      </p:sp>
      <p:sp>
        <p:nvSpPr>
          <p:cNvPr id="21" name="TextBox 62">
            <a:extLst>
              <a:ext uri="{FF2B5EF4-FFF2-40B4-BE49-F238E27FC236}">
                <a16:creationId xmlns:a16="http://schemas.microsoft.com/office/drawing/2014/main" id="{1688338F-A44E-0497-FB2C-2FB207BB5C75}"/>
              </a:ext>
            </a:extLst>
          </p:cNvPr>
          <p:cNvSpPr txBox="1"/>
          <p:nvPr/>
        </p:nvSpPr>
        <p:spPr>
          <a:xfrm>
            <a:off x="1092473" y="1410272"/>
            <a:ext cx="10007053" cy="3510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 Clientes / Personas 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 Produtos / Soluções para dores</a:t>
            </a:r>
            <a:endParaRPr lang="pt-BR" sz="4800" b="1" dirty="0">
              <a:solidFill>
                <a:prstClr val="black"/>
              </a:solidFill>
              <a:latin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 Formato único no mundo</a:t>
            </a:r>
            <a:endParaRPr lang="pt-BR" sz="4800" b="1" dirty="0">
              <a:solidFill>
                <a:prstClr val="black"/>
              </a:solidFill>
              <a:latin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 Mais empreendedores</a:t>
            </a:r>
            <a:endParaRPr lang="pt-BR" sz="4800" b="1" dirty="0">
              <a:solidFill>
                <a:prstClr val="black"/>
              </a:solidFill>
              <a:latin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 </a:t>
            </a:r>
            <a:r>
              <a:rPr lang="pt-BR" sz="4800" b="1" dirty="0">
                <a:solidFill>
                  <a:prstClr val="black"/>
                </a:solidFill>
                <a:latin typeface="Arial"/>
              </a:rPr>
              <a:t>Time mais foda do mundo</a:t>
            </a:r>
            <a:endParaRPr kumimoji="0" lang="pt-BR" sz="9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43020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70C95A7-3AF9-4F36-A469-3EEFAB14B0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70C95A7-3AF9-4F36-A469-3EEFAB14B0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Rectangle 73">
            <a:extLst>
              <a:ext uri="{FF2B5EF4-FFF2-40B4-BE49-F238E27FC236}">
                <a16:creationId xmlns:a16="http://schemas.microsoft.com/office/drawing/2014/main" id="{F16CB67B-19E8-43CD-9CC5-FC373695A915}"/>
              </a:ext>
            </a:extLst>
          </p:cNvPr>
          <p:cNvSpPr/>
          <p:nvPr/>
        </p:nvSpPr>
        <p:spPr>
          <a:xfrm>
            <a:off x="379744" y="3713964"/>
            <a:ext cx="11243505" cy="24713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1910D5E2-4CA4-49FD-9F63-3CC79C155F1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411565" y="48820"/>
            <a:ext cx="2529159" cy="110800"/>
          </a:xfrm>
        </p:spPr>
        <p:txBody>
          <a:bodyPr/>
          <a:lstStyle/>
          <a:p>
            <a:endParaRPr lang="pt-BR">
              <a:latin typeface="+mj-lt"/>
            </a:endParaRPr>
          </a:p>
        </p:txBody>
      </p:sp>
      <p:sp>
        <p:nvSpPr>
          <p:cNvPr id="21" name="TextBox 62">
            <a:extLst>
              <a:ext uri="{FF2B5EF4-FFF2-40B4-BE49-F238E27FC236}">
                <a16:creationId xmlns:a16="http://schemas.microsoft.com/office/drawing/2014/main" id="{1688338F-A44E-0497-FB2C-2FB207BB5C75}"/>
              </a:ext>
            </a:extLst>
          </p:cNvPr>
          <p:cNvSpPr txBox="1"/>
          <p:nvPr/>
        </p:nvSpPr>
        <p:spPr>
          <a:xfrm>
            <a:off x="1092473" y="1761285"/>
            <a:ext cx="10007053" cy="3510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5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s estamos só no começo...</a:t>
            </a:r>
            <a:endParaRPr kumimoji="0" lang="pt-BR" sz="115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49364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70C95A7-3AF9-4F36-A469-3EEFAB14B0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70C95A7-3AF9-4F36-A469-3EEFAB14B0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1910D5E2-4CA4-49FD-9F63-3CC79C155F1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411565" y="48820"/>
            <a:ext cx="2529159" cy="110800"/>
          </a:xfrm>
        </p:spPr>
        <p:txBody>
          <a:bodyPr/>
          <a:lstStyle/>
          <a:p>
            <a:endParaRPr lang="pt-BR">
              <a:latin typeface="+mj-lt"/>
            </a:endParaRPr>
          </a:p>
        </p:txBody>
      </p:sp>
      <p:sp>
        <p:nvSpPr>
          <p:cNvPr id="9" name="TextBox 62">
            <a:extLst>
              <a:ext uri="{FF2B5EF4-FFF2-40B4-BE49-F238E27FC236}">
                <a16:creationId xmlns:a16="http://schemas.microsoft.com/office/drawing/2014/main" id="{D78E86C2-DE37-FB52-9ABA-9562B6B5B2D2}"/>
              </a:ext>
            </a:extLst>
          </p:cNvPr>
          <p:cNvSpPr txBox="1"/>
          <p:nvPr/>
        </p:nvSpPr>
        <p:spPr>
          <a:xfrm>
            <a:off x="1839517" y="2200478"/>
            <a:ext cx="8149609" cy="3510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amos vivendo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m momento muito complicado do mundo</a:t>
            </a:r>
          </a:p>
        </p:txBody>
      </p:sp>
    </p:spTree>
    <p:extLst>
      <p:ext uri="{BB962C8B-B14F-4D97-AF65-F5344CB8AC3E}">
        <p14:creationId xmlns:p14="http://schemas.microsoft.com/office/powerpoint/2010/main" val="17078373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70C95A7-3AF9-4F36-A469-3EEFAB14B0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70C95A7-3AF9-4F36-A469-3EEFAB14B0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62">
            <a:extLst>
              <a:ext uri="{FF2B5EF4-FFF2-40B4-BE49-F238E27FC236}">
                <a16:creationId xmlns:a16="http://schemas.microsoft.com/office/drawing/2014/main" id="{D78E86C2-DE37-FB52-9ABA-9562B6B5B2D2}"/>
              </a:ext>
            </a:extLst>
          </p:cNvPr>
          <p:cNvSpPr txBox="1"/>
          <p:nvPr/>
        </p:nvSpPr>
        <p:spPr>
          <a:xfrm>
            <a:off x="1839517" y="2200478"/>
            <a:ext cx="8149609" cy="3510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4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Imagem 4" descr="Interface gráfica do usuário, Texto, Aplicativo&#10;&#10;Descrição gerada automaticamente">
            <a:extLst>
              <a:ext uri="{FF2B5EF4-FFF2-40B4-BE49-F238E27FC236}">
                <a16:creationId xmlns:a16="http://schemas.microsoft.com/office/drawing/2014/main" id="{039B94AD-D18C-9AF6-1D7E-DF21F89706E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624" y="1427019"/>
            <a:ext cx="11801728" cy="3990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273367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E4975929-88C6-8DC9-8A16-4D6F85F5540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13A77279-56CA-12A9-0FDC-5C641D7FD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D88136D-EA84-0BED-5563-A2634118AD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3D608D89-7DEF-C639-3A16-4CEFDCF7927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336501" y="1488458"/>
            <a:ext cx="11612879" cy="529070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t-BR" sz="3600" dirty="0"/>
              <a:t>No Brasil em 2021 haviam 18.440.986 empresas</a:t>
            </a:r>
          </a:p>
          <a:p>
            <a:pPr marL="0" indent="0">
              <a:buNone/>
            </a:pPr>
            <a:endParaRPr lang="pt-BR" sz="3600" dirty="0"/>
          </a:p>
          <a:p>
            <a:pPr marL="0" indent="0">
              <a:buNone/>
            </a:pPr>
            <a:r>
              <a:rPr lang="pt-BR" sz="3600" dirty="0"/>
              <a:t>Pouco mais de 400 na bolsa</a:t>
            </a:r>
          </a:p>
          <a:p>
            <a:pPr marL="0" indent="0">
              <a:buNone/>
            </a:pPr>
            <a:endParaRPr lang="pt-BR" sz="3600" dirty="0"/>
          </a:p>
          <a:p>
            <a:pPr marL="0" indent="0">
              <a:buNone/>
            </a:pPr>
            <a:r>
              <a:rPr lang="pt-BR" sz="3600" dirty="0"/>
              <a:t>Apenas 12 listadas nos USA</a:t>
            </a:r>
          </a:p>
        </p:txBody>
      </p:sp>
    </p:spTree>
    <p:extLst>
      <p:ext uri="{BB962C8B-B14F-4D97-AF65-F5344CB8AC3E}">
        <p14:creationId xmlns:p14="http://schemas.microsoft.com/office/powerpoint/2010/main" val="71551542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E4975929-88C6-8DC9-8A16-4D6F85F5540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13A77279-56CA-12A9-0FDC-5C641D7FD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D88136D-EA84-0BED-5563-A2634118AD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3D608D89-7DEF-C639-3A16-4CEFDCF7927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-757380" y="1488458"/>
            <a:ext cx="12949380" cy="529070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pt-BR" sz="5400" dirty="0"/>
              <a:t>“E ai, vamos juntos </a:t>
            </a:r>
          </a:p>
          <a:p>
            <a:pPr marL="0" indent="0" algn="ctr">
              <a:buNone/>
            </a:pPr>
            <a:r>
              <a:rPr lang="pt-BR" sz="5400" dirty="0"/>
              <a:t>melhorar o mundo </a:t>
            </a:r>
          </a:p>
          <a:p>
            <a:pPr marL="0" indent="0" algn="ctr">
              <a:buNone/>
            </a:pPr>
            <a:r>
              <a:rPr lang="pt-BR" sz="5400" dirty="0"/>
              <a:t>através da tecnologia </a:t>
            </a:r>
          </a:p>
          <a:p>
            <a:pPr marL="0" indent="0" algn="ctr">
              <a:buNone/>
            </a:pPr>
            <a:r>
              <a:rPr lang="pt-BR" sz="5400" dirty="0"/>
              <a:t>para logística e mobilidade???”</a:t>
            </a:r>
          </a:p>
        </p:txBody>
      </p:sp>
    </p:spTree>
    <p:extLst>
      <p:ext uri="{BB962C8B-B14F-4D97-AF65-F5344CB8AC3E}">
        <p14:creationId xmlns:p14="http://schemas.microsoft.com/office/powerpoint/2010/main" val="36753917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A7C53AC-EB60-C9FE-D2BC-704FEF0B2B6D}"/>
              </a:ext>
            </a:extLst>
          </p:cNvPr>
          <p:cNvSpPr txBox="1">
            <a:spLocks/>
          </p:cNvSpPr>
          <p:nvPr/>
        </p:nvSpPr>
        <p:spPr>
          <a:xfrm>
            <a:off x="289560" y="2598519"/>
            <a:ext cx="11612879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5400" b="1" dirty="0">
                <a:solidFill>
                  <a:srgbClr val="FA3C03"/>
                </a:solidFill>
                <a:latin typeface="Barlow Medium" panose="00000600000000000000" pitchFamily="2" charset="0"/>
              </a:rPr>
              <a:t>De onde surgiu a </a:t>
            </a:r>
            <a:r>
              <a:rPr lang="pt-BR" sz="5400" b="1" dirty="0" err="1">
                <a:solidFill>
                  <a:srgbClr val="FA3C03"/>
                </a:solidFill>
                <a:latin typeface="Barlow Medium" panose="00000600000000000000" pitchFamily="2" charset="0"/>
              </a:rPr>
              <a:t>nstech</a:t>
            </a:r>
            <a:r>
              <a:rPr lang="pt-BR" sz="5400" b="1" dirty="0">
                <a:solidFill>
                  <a:srgbClr val="FA3C03"/>
                </a:solidFill>
                <a:latin typeface="Barlow Medium" panose="00000600000000000000" pitchFamily="2" charset="0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2227087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A7C53AC-EB60-C9FE-D2BC-704FEF0B2B6D}"/>
              </a:ext>
            </a:extLst>
          </p:cNvPr>
          <p:cNvSpPr txBox="1">
            <a:spLocks/>
          </p:cNvSpPr>
          <p:nvPr/>
        </p:nvSpPr>
        <p:spPr>
          <a:xfrm>
            <a:off x="289560" y="2598519"/>
            <a:ext cx="11612879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5400" b="1" dirty="0">
                <a:solidFill>
                  <a:srgbClr val="FA3C03"/>
                </a:solidFill>
                <a:latin typeface="Barlow Medium" panose="00000600000000000000" pitchFamily="2" charset="0"/>
              </a:rPr>
              <a:t>De onde vem a inovação???</a:t>
            </a:r>
          </a:p>
        </p:txBody>
      </p:sp>
    </p:spTree>
    <p:extLst>
      <p:ext uri="{BB962C8B-B14F-4D97-AF65-F5344CB8AC3E}">
        <p14:creationId xmlns:p14="http://schemas.microsoft.com/office/powerpoint/2010/main" val="41787378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70C95A7-3AF9-4F36-A469-3EEFAB14B0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70C95A7-3AF9-4F36-A469-3EEFAB14B0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Rectangle 73">
            <a:extLst>
              <a:ext uri="{FF2B5EF4-FFF2-40B4-BE49-F238E27FC236}">
                <a16:creationId xmlns:a16="http://schemas.microsoft.com/office/drawing/2014/main" id="{F16CB67B-19E8-43CD-9CC5-FC373695A915}"/>
              </a:ext>
            </a:extLst>
          </p:cNvPr>
          <p:cNvSpPr/>
          <p:nvPr/>
        </p:nvSpPr>
        <p:spPr>
          <a:xfrm>
            <a:off x="379744" y="3713964"/>
            <a:ext cx="11243505" cy="24713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1910D5E2-4CA4-49FD-9F63-3CC79C155F1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411565" y="48820"/>
            <a:ext cx="2529159" cy="110800"/>
          </a:xfrm>
        </p:spPr>
        <p:txBody>
          <a:bodyPr/>
          <a:lstStyle/>
          <a:p>
            <a:endParaRPr lang="pt-BR">
              <a:latin typeface="+mj-lt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683E4CB-3177-4C9E-914A-53ADCA37CE4B}"/>
              </a:ext>
            </a:extLst>
          </p:cNvPr>
          <p:cNvSpPr txBox="1"/>
          <p:nvPr/>
        </p:nvSpPr>
        <p:spPr>
          <a:xfrm>
            <a:off x="568751" y="3861113"/>
            <a:ext cx="2680724" cy="3510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fil das investidas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0450B522-04CE-446A-8E29-F18FA272CC81}"/>
              </a:ext>
            </a:extLst>
          </p:cNvPr>
          <p:cNvSpPr txBox="1"/>
          <p:nvPr/>
        </p:nvSpPr>
        <p:spPr>
          <a:xfrm>
            <a:off x="568751" y="4166097"/>
            <a:ext cx="3244133" cy="14943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6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íder em mercado </a:t>
            </a:r>
            <a:r>
              <a:rPr kumimoji="0" lang="pt-BR" sz="16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icho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6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ceita </a:t>
            </a:r>
            <a:r>
              <a:rPr kumimoji="0" lang="pt-BR" sz="16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corrente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6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delo </a:t>
            </a:r>
            <a:r>
              <a:rPr kumimoji="0" lang="pt-BR" sz="16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set light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60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ócio e times </a:t>
            </a:r>
            <a:r>
              <a:rPr kumimoji="0" lang="pt-BR" sz="16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ertos</a:t>
            </a:r>
            <a:endParaRPr kumimoji="0" lang="pt-BR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29339D3F-BA28-47B0-A9DB-FF567FA6BE85}"/>
              </a:ext>
            </a:extLst>
          </p:cNvPr>
          <p:cNvSpPr txBox="1"/>
          <p:nvPr/>
        </p:nvSpPr>
        <p:spPr>
          <a:xfrm>
            <a:off x="642080" y="5606009"/>
            <a:ext cx="2415812" cy="3276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delo operacional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CA09EB60-FA21-4520-90C3-F5BCA8B292A1}"/>
              </a:ext>
            </a:extLst>
          </p:cNvPr>
          <p:cNvSpPr txBox="1"/>
          <p:nvPr/>
        </p:nvSpPr>
        <p:spPr>
          <a:xfrm>
            <a:off x="603543" y="5999220"/>
            <a:ext cx="2680724" cy="39180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ocação de capital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342CF060-8570-4A27-E043-34CAD169B5AF}"/>
              </a:ext>
            </a:extLst>
          </p:cNvPr>
          <p:cNvSpPr txBox="1"/>
          <p:nvPr/>
        </p:nvSpPr>
        <p:spPr>
          <a:xfrm>
            <a:off x="7586579" y="1194174"/>
            <a:ext cx="6123708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Font typeface="Wingdings" panose="05000000000000000000" pitchFamily="2" charset="2"/>
              <a:buChar char="ü"/>
            </a:pPr>
            <a:r>
              <a:rPr lang="pt-BR" dirty="0"/>
              <a:t>Carente de eficiência 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pt-BR" dirty="0"/>
              <a:t>Baixa automação processos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pt-BR" dirty="0"/>
              <a:t>Soluções pulverizadas e não integradas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pt-BR" dirty="0"/>
              <a:t>Operações com alta complexidade 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pt-BR" dirty="0"/>
              <a:t>Múltiplas integrações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pt-BR" dirty="0"/>
              <a:t>Muitos fornecedores</a:t>
            </a:r>
          </a:p>
        </p:txBody>
      </p:sp>
      <p:sp>
        <p:nvSpPr>
          <p:cNvPr id="9" name="TextBox 62">
            <a:extLst>
              <a:ext uri="{FF2B5EF4-FFF2-40B4-BE49-F238E27FC236}">
                <a16:creationId xmlns:a16="http://schemas.microsoft.com/office/drawing/2014/main" id="{D78E86C2-DE37-FB52-9ABA-9562B6B5B2D2}"/>
              </a:ext>
            </a:extLst>
          </p:cNvPr>
          <p:cNvSpPr txBox="1"/>
          <p:nvPr/>
        </p:nvSpPr>
        <p:spPr>
          <a:xfrm>
            <a:off x="1049809" y="884296"/>
            <a:ext cx="2680724" cy="3510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ósito de impactar a vida das pessoas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BF89AC55-56D5-E4DF-B362-49159CC8D90B}"/>
              </a:ext>
            </a:extLst>
          </p:cNvPr>
          <p:cNvSpPr txBox="1"/>
          <p:nvPr/>
        </p:nvSpPr>
        <p:spPr>
          <a:xfrm>
            <a:off x="7648926" y="834489"/>
            <a:ext cx="64008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nha experiência na AGV</a:t>
            </a:r>
          </a:p>
        </p:txBody>
      </p:sp>
      <p:sp>
        <p:nvSpPr>
          <p:cNvPr id="21" name="TextBox 62">
            <a:extLst>
              <a:ext uri="{FF2B5EF4-FFF2-40B4-BE49-F238E27FC236}">
                <a16:creationId xmlns:a16="http://schemas.microsoft.com/office/drawing/2014/main" id="{1688338F-A44E-0497-FB2C-2FB207BB5C75}"/>
              </a:ext>
            </a:extLst>
          </p:cNvPr>
          <p:cNvSpPr txBox="1"/>
          <p:nvPr/>
        </p:nvSpPr>
        <p:spPr>
          <a:xfrm>
            <a:off x="4377272" y="1680890"/>
            <a:ext cx="2680724" cy="3510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</a:t>
            </a:r>
          </a:p>
        </p:txBody>
      </p:sp>
      <p:pic>
        <p:nvPicPr>
          <p:cNvPr id="31" name="Imagem 30">
            <a:extLst>
              <a:ext uri="{FF2B5EF4-FFF2-40B4-BE49-F238E27FC236}">
                <a16:creationId xmlns:a16="http://schemas.microsoft.com/office/drawing/2014/main" id="{EB883F17-BFE4-ED8D-5778-AF30F60196F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18089" y="2779904"/>
            <a:ext cx="3999090" cy="3999090"/>
          </a:xfrm>
          <a:prstGeom prst="rect">
            <a:avLst/>
          </a:prstGeom>
        </p:spPr>
      </p:pic>
      <p:sp>
        <p:nvSpPr>
          <p:cNvPr id="33" name="TextBox 62">
            <a:extLst>
              <a:ext uri="{FF2B5EF4-FFF2-40B4-BE49-F238E27FC236}">
                <a16:creationId xmlns:a16="http://schemas.microsoft.com/office/drawing/2014/main" id="{3357F9C7-AA3F-D48D-7535-78FD39636C9B}"/>
              </a:ext>
            </a:extLst>
          </p:cNvPr>
          <p:cNvSpPr txBox="1"/>
          <p:nvPr/>
        </p:nvSpPr>
        <p:spPr>
          <a:xfrm>
            <a:off x="377168" y="2968529"/>
            <a:ext cx="2680724" cy="3510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losofia de investimento</a:t>
            </a:r>
          </a:p>
        </p:txBody>
      </p:sp>
    </p:spTree>
    <p:extLst>
      <p:ext uri="{BB962C8B-B14F-4D97-AF65-F5344CB8AC3E}">
        <p14:creationId xmlns:p14="http://schemas.microsoft.com/office/powerpoint/2010/main" val="32505948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70C95A7-3AF9-4F36-A469-3EEFAB14B0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70C95A7-3AF9-4F36-A469-3EEFAB14B0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Rectangle 73">
            <a:extLst>
              <a:ext uri="{FF2B5EF4-FFF2-40B4-BE49-F238E27FC236}">
                <a16:creationId xmlns:a16="http://schemas.microsoft.com/office/drawing/2014/main" id="{F16CB67B-19E8-43CD-9CC5-FC373695A915}"/>
              </a:ext>
            </a:extLst>
          </p:cNvPr>
          <p:cNvSpPr/>
          <p:nvPr/>
        </p:nvSpPr>
        <p:spPr>
          <a:xfrm>
            <a:off x="379744" y="3713964"/>
            <a:ext cx="11243505" cy="24713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1910D5E2-4CA4-49FD-9F63-3CC79C155F1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411565" y="48820"/>
            <a:ext cx="2529159" cy="110800"/>
          </a:xfrm>
        </p:spPr>
        <p:txBody>
          <a:bodyPr/>
          <a:lstStyle/>
          <a:p>
            <a:endParaRPr lang="pt-BR">
              <a:latin typeface="+mj-lt"/>
            </a:endParaRPr>
          </a:p>
        </p:txBody>
      </p:sp>
      <p:sp>
        <p:nvSpPr>
          <p:cNvPr id="9" name="TextBox 62">
            <a:extLst>
              <a:ext uri="{FF2B5EF4-FFF2-40B4-BE49-F238E27FC236}">
                <a16:creationId xmlns:a16="http://schemas.microsoft.com/office/drawing/2014/main" id="{D78E86C2-DE37-FB52-9ABA-9562B6B5B2D2}"/>
              </a:ext>
            </a:extLst>
          </p:cNvPr>
          <p:cNvSpPr txBox="1"/>
          <p:nvPr/>
        </p:nvSpPr>
        <p:spPr>
          <a:xfrm>
            <a:off x="1559546" y="1467133"/>
            <a:ext cx="8883900" cy="22597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ósito de vida: impactar a vida das pessoas</a:t>
            </a:r>
          </a:p>
        </p:txBody>
      </p:sp>
      <p:sp>
        <p:nvSpPr>
          <p:cNvPr id="21" name="TextBox 62">
            <a:extLst>
              <a:ext uri="{FF2B5EF4-FFF2-40B4-BE49-F238E27FC236}">
                <a16:creationId xmlns:a16="http://schemas.microsoft.com/office/drawing/2014/main" id="{1688338F-A44E-0497-FB2C-2FB207BB5C75}"/>
              </a:ext>
            </a:extLst>
          </p:cNvPr>
          <p:cNvSpPr txBox="1"/>
          <p:nvPr/>
        </p:nvSpPr>
        <p:spPr>
          <a:xfrm>
            <a:off x="4755638" y="2590653"/>
            <a:ext cx="2680724" cy="3510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9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1716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70C95A7-3AF9-4F36-A469-3EEFAB14B0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70C95A7-3AF9-4F36-A469-3EEFAB14B0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Rectangle 73">
            <a:extLst>
              <a:ext uri="{FF2B5EF4-FFF2-40B4-BE49-F238E27FC236}">
                <a16:creationId xmlns:a16="http://schemas.microsoft.com/office/drawing/2014/main" id="{F16CB67B-19E8-43CD-9CC5-FC373695A915}"/>
              </a:ext>
            </a:extLst>
          </p:cNvPr>
          <p:cNvSpPr/>
          <p:nvPr/>
        </p:nvSpPr>
        <p:spPr>
          <a:xfrm>
            <a:off x="379744" y="3713964"/>
            <a:ext cx="11243505" cy="24713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1910D5E2-4CA4-49FD-9F63-3CC79C155F1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411565" y="48820"/>
            <a:ext cx="2529159" cy="110800"/>
          </a:xfrm>
        </p:spPr>
        <p:txBody>
          <a:bodyPr/>
          <a:lstStyle/>
          <a:p>
            <a:endParaRPr lang="pt-BR">
              <a:latin typeface="+mj-lt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342CF060-8570-4A27-E043-34CAD169B5AF}"/>
              </a:ext>
            </a:extLst>
          </p:cNvPr>
          <p:cNvSpPr txBox="1"/>
          <p:nvPr/>
        </p:nvSpPr>
        <p:spPr>
          <a:xfrm>
            <a:off x="4233779" y="2967556"/>
            <a:ext cx="6123708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Font typeface="Wingdings" panose="05000000000000000000" pitchFamily="2" charset="2"/>
              <a:buChar char="ü"/>
            </a:pPr>
            <a:r>
              <a:rPr lang="pt-BR" sz="2400" dirty="0"/>
              <a:t>Carente de eficiência 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pt-BR" sz="2400" dirty="0"/>
              <a:t>Baixa automação processos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pt-BR" sz="2400" dirty="0"/>
              <a:t>Soluções pulverizadas e não integradas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pt-BR" sz="2400" dirty="0"/>
              <a:t>Operações com alta complexidade 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pt-BR" sz="2400" dirty="0"/>
              <a:t>Múltiplas integrações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pt-BR" sz="2400" dirty="0"/>
              <a:t>Muitos fornecedores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BF89AC55-56D5-E4DF-B362-49159CC8D90B}"/>
              </a:ext>
            </a:extLst>
          </p:cNvPr>
          <p:cNvSpPr txBox="1"/>
          <p:nvPr/>
        </p:nvSpPr>
        <p:spPr>
          <a:xfrm>
            <a:off x="4233779" y="2230607"/>
            <a:ext cx="64008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nha experiência na AGV</a:t>
            </a:r>
          </a:p>
        </p:txBody>
      </p:sp>
      <p:sp>
        <p:nvSpPr>
          <p:cNvPr id="21" name="TextBox 62">
            <a:extLst>
              <a:ext uri="{FF2B5EF4-FFF2-40B4-BE49-F238E27FC236}">
                <a16:creationId xmlns:a16="http://schemas.microsoft.com/office/drawing/2014/main" id="{1688338F-A44E-0497-FB2C-2FB207BB5C75}"/>
              </a:ext>
            </a:extLst>
          </p:cNvPr>
          <p:cNvSpPr txBox="1"/>
          <p:nvPr/>
        </p:nvSpPr>
        <p:spPr>
          <a:xfrm>
            <a:off x="816653" y="2248926"/>
            <a:ext cx="2680724" cy="3510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42162005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70C95A7-3AF9-4F36-A469-3EEFAB14B0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70C95A7-3AF9-4F36-A469-3EEFAB14B0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Rectangle 73">
            <a:extLst>
              <a:ext uri="{FF2B5EF4-FFF2-40B4-BE49-F238E27FC236}">
                <a16:creationId xmlns:a16="http://schemas.microsoft.com/office/drawing/2014/main" id="{F16CB67B-19E8-43CD-9CC5-FC373695A915}"/>
              </a:ext>
            </a:extLst>
          </p:cNvPr>
          <p:cNvSpPr/>
          <p:nvPr/>
        </p:nvSpPr>
        <p:spPr>
          <a:xfrm>
            <a:off x="303544" y="2480910"/>
            <a:ext cx="11243505" cy="24713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1910D5E2-4CA4-49FD-9F63-3CC79C155F1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411565" y="48820"/>
            <a:ext cx="2529159" cy="110800"/>
          </a:xfrm>
        </p:spPr>
        <p:txBody>
          <a:bodyPr/>
          <a:lstStyle/>
          <a:p>
            <a:endParaRPr lang="pt-BR">
              <a:latin typeface="+mj-lt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683E4CB-3177-4C9E-914A-53ADCA37CE4B}"/>
              </a:ext>
            </a:extLst>
          </p:cNvPr>
          <p:cNvSpPr txBox="1"/>
          <p:nvPr/>
        </p:nvSpPr>
        <p:spPr>
          <a:xfrm>
            <a:off x="492551" y="2628059"/>
            <a:ext cx="2680724" cy="3510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fil das investidas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0450B522-04CE-446A-8E29-F18FA272CC81}"/>
              </a:ext>
            </a:extLst>
          </p:cNvPr>
          <p:cNvSpPr txBox="1"/>
          <p:nvPr/>
        </p:nvSpPr>
        <p:spPr>
          <a:xfrm>
            <a:off x="507182" y="3014230"/>
            <a:ext cx="3244133" cy="14943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6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íder em mercado </a:t>
            </a:r>
            <a:r>
              <a:rPr kumimoji="0" lang="pt-BR" sz="16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icho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6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ceita </a:t>
            </a:r>
            <a:r>
              <a:rPr kumimoji="0" lang="pt-BR" sz="16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corrente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6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delo </a:t>
            </a:r>
            <a:r>
              <a:rPr kumimoji="0" lang="pt-BR" sz="16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set light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60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ócio e times </a:t>
            </a:r>
            <a:r>
              <a:rPr kumimoji="0" lang="pt-BR" sz="16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ertos</a:t>
            </a:r>
            <a:endParaRPr kumimoji="0" lang="pt-BR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29339D3F-BA28-47B0-A9DB-FF567FA6BE85}"/>
              </a:ext>
            </a:extLst>
          </p:cNvPr>
          <p:cNvSpPr txBox="1"/>
          <p:nvPr/>
        </p:nvSpPr>
        <p:spPr>
          <a:xfrm>
            <a:off x="3768467" y="2628059"/>
            <a:ext cx="2415812" cy="3276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delo operacional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00B33577-2726-488C-A093-C3358CEB459C}"/>
              </a:ext>
            </a:extLst>
          </p:cNvPr>
          <p:cNvSpPr txBox="1"/>
          <p:nvPr/>
        </p:nvSpPr>
        <p:spPr>
          <a:xfrm>
            <a:off x="3768467" y="3033334"/>
            <a:ext cx="4098330" cy="17790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6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ejamento </a:t>
            </a:r>
            <a:r>
              <a:rPr kumimoji="0" lang="pt-BR" sz="16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junto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6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ecução </a:t>
            </a:r>
            <a:r>
              <a:rPr kumimoji="0" lang="pt-BR" sz="16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scentralizada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6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vestimento intensivo em </a:t>
            </a:r>
            <a:r>
              <a:rPr kumimoji="0" lang="pt-BR" sz="16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cnologia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6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tração e retenção de </a:t>
            </a:r>
            <a:r>
              <a:rPr kumimoji="0" lang="pt-BR" sz="16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lento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6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ltura </a:t>
            </a:r>
            <a:r>
              <a:rPr lang="pt-BR" sz="1600" b="1" noProof="1">
                <a:solidFill>
                  <a:prstClr val="black"/>
                </a:solidFill>
                <a:latin typeface="Arial"/>
              </a:rPr>
              <a:t>e marca</a:t>
            </a:r>
            <a:r>
              <a:rPr kumimoji="0" lang="pt-BR" sz="16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pt-BR" sz="16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 cada empresa</a:t>
            </a:r>
            <a:endParaRPr kumimoji="0" lang="pt-BR" sz="1600" b="1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1600" noProof="1">
                <a:solidFill>
                  <a:prstClr val="black"/>
                </a:solidFill>
                <a:latin typeface="Arial"/>
              </a:rPr>
              <a:t>Empresas </a:t>
            </a:r>
            <a:r>
              <a:rPr lang="pt-BR" sz="1600" b="1" noProof="1">
                <a:solidFill>
                  <a:prstClr val="black"/>
                </a:solidFill>
                <a:latin typeface="Arial"/>
              </a:rPr>
              <a:t>mais focadas no seu core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1600" b="1" noProof="1">
                <a:solidFill>
                  <a:prstClr val="black"/>
                </a:solidFill>
                <a:latin typeface="Arial"/>
              </a:rPr>
              <a:t>Sistema de gestão </a:t>
            </a:r>
            <a:r>
              <a:rPr lang="pt-BR" sz="1600" noProof="1">
                <a:solidFill>
                  <a:prstClr val="black"/>
                </a:solidFill>
                <a:latin typeface="Arial"/>
              </a:rPr>
              <a:t>padronizado</a:t>
            </a:r>
            <a:endParaRPr kumimoji="0" lang="pt-BR" sz="1600" b="1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CA09EB60-FA21-4520-90C3-F5BCA8B292A1}"/>
              </a:ext>
            </a:extLst>
          </p:cNvPr>
          <p:cNvSpPr txBox="1"/>
          <p:nvPr/>
        </p:nvSpPr>
        <p:spPr>
          <a:xfrm>
            <a:off x="8075651" y="2628059"/>
            <a:ext cx="2680724" cy="39180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ocação de capital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DC0B1AB7-BADF-40FB-B98E-3D859C63AB0A}"/>
              </a:ext>
            </a:extLst>
          </p:cNvPr>
          <p:cNvSpPr txBox="1"/>
          <p:nvPr/>
        </p:nvSpPr>
        <p:spPr>
          <a:xfrm>
            <a:off x="8075651" y="3032021"/>
            <a:ext cx="4098330" cy="194846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6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ocação de recursos </a:t>
            </a:r>
            <a:r>
              <a:rPr kumimoji="0" lang="pt-BR" sz="16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entralizada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6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cisões baseadas </a:t>
            </a:r>
            <a:r>
              <a:rPr kumimoji="0" lang="pt-BR" sz="16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IC e EVA no LP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6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delo </a:t>
            </a:r>
            <a:r>
              <a:rPr kumimoji="0" lang="pt-BR" sz="16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calável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6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dronização de </a:t>
            </a:r>
            <a:r>
              <a:rPr kumimoji="0" lang="pt-BR" sz="16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</a:t>
            </a:r>
            <a:endParaRPr kumimoji="0" lang="pt-BR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446127CB-4D0D-4CAC-A5D8-2D92FB2E5720}"/>
              </a:ext>
            </a:extLst>
          </p:cNvPr>
          <p:cNvCxnSpPr>
            <a:cxnSpLocks/>
          </p:cNvCxnSpPr>
          <p:nvPr/>
        </p:nvCxnSpPr>
        <p:spPr>
          <a:xfrm>
            <a:off x="303544" y="2482441"/>
            <a:ext cx="1124350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Title 5">
            <a:extLst>
              <a:ext uri="{FF2B5EF4-FFF2-40B4-BE49-F238E27FC236}">
                <a16:creationId xmlns:a16="http://schemas.microsoft.com/office/drawing/2014/main" id="{AB54A661-0625-43AA-B608-2E80A2FE8CF9}"/>
              </a:ext>
            </a:extLst>
          </p:cNvPr>
          <p:cNvSpPr txBox="1">
            <a:spLocks/>
          </p:cNvSpPr>
          <p:nvPr/>
        </p:nvSpPr>
        <p:spPr>
          <a:xfrm>
            <a:off x="303544" y="1927801"/>
            <a:ext cx="5792456" cy="48012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 fontScale="6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6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1" i="0" u="none" strike="noStrike" kern="1200" cap="none" spc="0" normalizeH="0" baseline="0" noProof="0" dirty="0">
                <a:ln>
                  <a:noFill/>
                </a:ln>
                <a:solidFill>
                  <a:srgbClr val="FF3D03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NOSSA FILOSOFIA DE INVESTIMENTO</a:t>
            </a:r>
          </a:p>
        </p:txBody>
      </p:sp>
      <p:sp>
        <p:nvSpPr>
          <p:cNvPr id="6" name="TextBox 62">
            <a:extLst>
              <a:ext uri="{FF2B5EF4-FFF2-40B4-BE49-F238E27FC236}">
                <a16:creationId xmlns:a16="http://schemas.microsoft.com/office/drawing/2014/main" id="{B6580000-1F12-8FB1-7CA7-3D3A8B73FBB9}"/>
              </a:ext>
            </a:extLst>
          </p:cNvPr>
          <p:cNvSpPr txBox="1"/>
          <p:nvPr/>
        </p:nvSpPr>
        <p:spPr>
          <a:xfrm>
            <a:off x="4661134" y="321678"/>
            <a:ext cx="2680724" cy="3510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16705367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70C95A7-3AF9-4F36-A469-3EEFAB14B0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70C95A7-3AF9-4F36-A469-3EEFAB14B0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Rectangle 73">
            <a:extLst>
              <a:ext uri="{FF2B5EF4-FFF2-40B4-BE49-F238E27FC236}">
                <a16:creationId xmlns:a16="http://schemas.microsoft.com/office/drawing/2014/main" id="{F16CB67B-19E8-43CD-9CC5-FC373695A915}"/>
              </a:ext>
            </a:extLst>
          </p:cNvPr>
          <p:cNvSpPr/>
          <p:nvPr/>
        </p:nvSpPr>
        <p:spPr>
          <a:xfrm>
            <a:off x="379744" y="3713964"/>
            <a:ext cx="11243505" cy="24713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1910D5E2-4CA4-49FD-9F63-3CC79C155F1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411565" y="48820"/>
            <a:ext cx="2529159" cy="110800"/>
          </a:xfrm>
        </p:spPr>
        <p:txBody>
          <a:bodyPr/>
          <a:lstStyle/>
          <a:p>
            <a:endParaRPr lang="pt-BR">
              <a:latin typeface="+mj-lt"/>
            </a:endParaRPr>
          </a:p>
        </p:txBody>
      </p:sp>
      <p:sp>
        <p:nvSpPr>
          <p:cNvPr id="9" name="TextBox 62">
            <a:extLst>
              <a:ext uri="{FF2B5EF4-FFF2-40B4-BE49-F238E27FC236}">
                <a16:creationId xmlns:a16="http://schemas.microsoft.com/office/drawing/2014/main" id="{D78E86C2-DE37-FB52-9ABA-9562B6B5B2D2}"/>
              </a:ext>
            </a:extLst>
          </p:cNvPr>
          <p:cNvSpPr txBox="1"/>
          <p:nvPr/>
        </p:nvSpPr>
        <p:spPr>
          <a:xfrm>
            <a:off x="1628974" y="838686"/>
            <a:ext cx="8177319" cy="3510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tencial para à partir do Brasil fazer uma empresa global</a:t>
            </a:r>
          </a:p>
        </p:txBody>
      </p:sp>
      <p:sp>
        <p:nvSpPr>
          <p:cNvPr id="21" name="TextBox 62">
            <a:extLst>
              <a:ext uri="{FF2B5EF4-FFF2-40B4-BE49-F238E27FC236}">
                <a16:creationId xmlns:a16="http://schemas.microsoft.com/office/drawing/2014/main" id="{1688338F-A44E-0497-FB2C-2FB207BB5C75}"/>
              </a:ext>
            </a:extLst>
          </p:cNvPr>
          <p:cNvSpPr txBox="1"/>
          <p:nvPr/>
        </p:nvSpPr>
        <p:spPr>
          <a:xfrm>
            <a:off x="-295017" y="663179"/>
            <a:ext cx="2680724" cy="3510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</a:t>
            </a:r>
          </a:p>
        </p:txBody>
      </p:sp>
      <p:pic>
        <p:nvPicPr>
          <p:cNvPr id="31" name="Imagem 30">
            <a:extLst>
              <a:ext uri="{FF2B5EF4-FFF2-40B4-BE49-F238E27FC236}">
                <a16:creationId xmlns:a16="http://schemas.microsoft.com/office/drawing/2014/main" id="{EB883F17-BFE4-ED8D-5778-AF30F60196F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24124" y="2135021"/>
            <a:ext cx="4594638" cy="4594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21127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70C95A7-3AF9-4F36-A469-3EEFAB14B0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70C95A7-3AF9-4F36-A469-3EEFAB14B0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Rectangle 73">
            <a:extLst>
              <a:ext uri="{FF2B5EF4-FFF2-40B4-BE49-F238E27FC236}">
                <a16:creationId xmlns:a16="http://schemas.microsoft.com/office/drawing/2014/main" id="{F16CB67B-19E8-43CD-9CC5-FC373695A915}"/>
              </a:ext>
            </a:extLst>
          </p:cNvPr>
          <p:cNvSpPr/>
          <p:nvPr/>
        </p:nvSpPr>
        <p:spPr>
          <a:xfrm>
            <a:off x="379744" y="3713964"/>
            <a:ext cx="11243505" cy="24713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1910D5E2-4CA4-49FD-9F63-3CC79C155F1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411565" y="48820"/>
            <a:ext cx="2529159" cy="110800"/>
          </a:xfrm>
        </p:spPr>
        <p:txBody>
          <a:bodyPr/>
          <a:lstStyle/>
          <a:p>
            <a:endParaRPr lang="pt-BR">
              <a:latin typeface="+mj-lt"/>
            </a:endParaRPr>
          </a:p>
        </p:txBody>
      </p:sp>
      <p:sp>
        <p:nvSpPr>
          <p:cNvPr id="9" name="TextBox 62">
            <a:extLst>
              <a:ext uri="{FF2B5EF4-FFF2-40B4-BE49-F238E27FC236}">
                <a16:creationId xmlns:a16="http://schemas.microsoft.com/office/drawing/2014/main" id="{D78E86C2-DE37-FB52-9ABA-9562B6B5B2D2}"/>
              </a:ext>
            </a:extLst>
          </p:cNvPr>
          <p:cNvSpPr txBox="1"/>
          <p:nvPr/>
        </p:nvSpPr>
        <p:spPr>
          <a:xfrm>
            <a:off x="1912836" y="1158492"/>
            <a:ext cx="8177319" cy="3510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4000" b="1" dirty="0">
                <a:solidFill>
                  <a:prstClr val="black"/>
                </a:solidFill>
                <a:latin typeface="Arial"/>
              </a:rPr>
              <a:t>Visão de</a:t>
            </a:r>
            <a:r>
              <a:rPr kumimoji="0" lang="pt-BR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longo prazo</a:t>
            </a:r>
          </a:p>
        </p:txBody>
      </p:sp>
      <p:sp>
        <p:nvSpPr>
          <p:cNvPr id="21" name="TextBox 62">
            <a:extLst>
              <a:ext uri="{FF2B5EF4-FFF2-40B4-BE49-F238E27FC236}">
                <a16:creationId xmlns:a16="http://schemas.microsoft.com/office/drawing/2014/main" id="{1688338F-A44E-0497-FB2C-2FB207BB5C75}"/>
              </a:ext>
            </a:extLst>
          </p:cNvPr>
          <p:cNvSpPr txBox="1"/>
          <p:nvPr/>
        </p:nvSpPr>
        <p:spPr>
          <a:xfrm>
            <a:off x="-295017" y="663179"/>
            <a:ext cx="2680724" cy="3510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B01EF442-64DF-550C-A79F-7CF730B181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4301" y="2578550"/>
            <a:ext cx="11554387" cy="1700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05970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7</TotalTime>
  <Words>285</Words>
  <Application>Microsoft Macintosh PowerPoint</Application>
  <PresentationFormat>Widescreen</PresentationFormat>
  <Paragraphs>71</Paragraphs>
  <Slides>17</Slides>
  <Notes>0</Notes>
  <HiddenSlides>1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7</vt:i4>
      </vt:variant>
    </vt:vector>
  </HeadingPairs>
  <TitlesOfParts>
    <vt:vector size="25" baseType="lpstr">
      <vt:lpstr>Arial</vt:lpstr>
      <vt:lpstr>Barlow Medium</vt:lpstr>
      <vt:lpstr>Calibri</vt:lpstr>
      <vt:lpstr>Calibri Light</vt:lpstr>
      <vt:lpstr>Wingdings</vt:lpstr>
      <vt:lpstr>Tema do Office</vt:lpstr>
      <vt:lpstr>Slide do think-cell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Vasco  Oliveira Neto</dc:creator>
  <cp:lastModifiedBy>Filipe Cunha</cp:lastModifiedBy>
  <cp:revision>3</cp:revision>
  <dcterms:created xsi:type="dcterms:W3CDTF">2022-11-01T09:14:50Z</dcterms:created>
  <dcterms:modified xsi:type="dcterms:W3CDTF">2022-11-03T16:52:24Z</dcterms:modified>
</cp:coreProperties>
</file>